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0" r:id="rId1"/>
    <p:sldMasterId id="2147483699" r:id="rId2"/>
  </p:sldMasterIdLst>
  <p:notesMasterIdLst>
    <p:notesMasterId r:id="rId4"/>
  </p:notesMasterIdLst>
  <p:sldIdLst>
    <p:sldId id="2145705837" r:id="rId3"/>
  </p:sldIdLst>
  <p:sldSz cx="6858000" cy="9906000" type="A4"/>
  <p:notesSz cx="6858000" cy="9144000"/>
  <p:embeddedFontLst>
    <p:embeddedFont>
      <p:font typeface="Avenir Next LT Pro" panose="020B0504020202020204" pitchFamily="34" charset="0"/>
      <p:regular r:id="rId5"/>
      <p:bold r:id="rId6"/>
      <p:italic r:id="rId7"/>
      <p:boldItalic r:id="rId8"/>
    </p:embeddedFont>
    <p:embeddedFont>
      <p:font typeface="Montserrat" panose="00000500000000000000" pitchFamily="2" charset="0"/>
      <p:regular r:id="rId9"/>
      <p:bold r:id="rId10"/>
      <p:italic r:id="rId11"/>
      <p:boldItalic r:id="rId12"/>
    </p:embeddedFont>
    <p:embeddedFont>
      <p:font typeface="Red Hat Text" panose="020B0604020202020204" charset="0"/>
      <p:regular r:id="rId13"/>
      <p:bold r:id="rId14"/>
      <p:italic r:id="rId15"/>
      <p:boldItalic r:id="rId16"/>
    </p:embeddedFont>
    <p:embeddedFont>
      <p:font typeface="Red Hat Text SemiBold" panose="020B060402020202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de-DE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a Zihn" initials="NZ" lastIdx="1" clrIdx="0">
    <p:extLst>
      <p:ext uri="{19B8F6BF-5375-455C-9EA6-DF929625EA0E}">
        <p15:presenceInfo xmlns:p15="http://schemas.microsoft.com/office/powerpoint/2012/main" userId="S::nora@clevisresearch.onmicrosoft.com::d972c7eb-b4b8-4979-8222-7bb3a4a94a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82827"/>
    <a:srgbClr val="6AB1E7"/>
    <a:srgbClr val="E21B4B"/>
    <a:srgbClr val="FFA152"/>
    <a:srgbClr val="25D07B"/>
    <a:srgbClr val="006B6B"/>
    <a:srgbClr val="D13895"/>
    <a:srgbClr val="4B3575"/>
    <a:srgbClr val="042C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0065" autoAdjust="0"/>
  </p:normalViewPr>
  <p:slideViewPr>
    <p:cSldViewPr snapToGrid="0">
      <p:cViewPr>
        <p:scale>
          <a:sx n="75" d="100"/>
          <a:sy n="75" d="100"/>
        </p:scale>
        <p:origin x="2018" y="4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112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font" Target="fonts/font14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font" Target="fonts/font13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2.fntdata"/><Relationship Id="rId20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24" Type="http://schemas.openxmlformats.org/officeDocument/2006/relationships/viewProps" Target="viewProps.xml"/><Relationship Id="rId5" Type="http://schemas.openxmlformats.org/officeDocument/2006/relationships/font" Target="fonts/font1.fntdata"/><Relationship Id="rId15" Type="http://schemas.openxmlformats.org/officeDocument/2006/relationships/font" Target="fonts/font11.fntdata"/><Relationship Id="rId23" Type="http://schemas.openxmlformats.org/officeDocument/2006/relationships/presProps" Target="presProps.xml"/><Relationship Id="rId10" Type="http://schemas.openxmlformats.org/officeDocument/2006/relationships/font" Target="fonts/font6.fntdata"/><Relationship Id="rId19" Type="http://schemas.openxmlformats.org/officeDocument/2006/relationships/font" Target="fonts/font15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84E330B8-E1E3-4FA7-9218-EF0D942426CD}" type="datetimeFigureOut">
              <a:rPr lang="en-GB" smtClean="0"/>
              <a:pPr/>
              <a:t>10/10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2C246FC3-9EC4-40C0-BA00-570A2708BE3E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1pPr>
    <a:lvl2pPr marL="457165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2pPr>
    <a:lvl3pPr marL="91433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3pPr>
    <a:lvl4pPr marL="1371496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4pPr>
    <a:lvl5pPr marL="1828661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5pPr>
    <a:lvl6pPr marL="228582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9.png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08417" y="-950133"/>
            <a:ext cx="3080742" cy="791104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5323238" y="7536260"/>
            <a:ext cx="1217512" cy="124442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25480" y="1809202"/>
            <a:ext cx="2223492" cy="5709708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08868"/>
            <a:ext cx="198322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952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12000"/>
            <a:ext cx="198322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398" y="-4218816"/>
            <a:ext cx="5829298" cy="1496906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81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249" y="806001"/>
            <a:ext cx="6223496" cy="523292"/>
          </a:xfrm>
          <a:prstGeom prst="rect">
            <a:avLst/>
          </a:prstGeom>
        </p:spPr>
        <p:txBody>
          <a:bodyPr/>
          <a:lstStyle>
            <a:lvl1pPr>
              <a:defRPr sz="5778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773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6750" y="9360000"/>
            <a:ext cx="5042250" cy="312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3750" y="9467821"/>
            <a:ext cx="202500" cy="312000"/>
          </a:xfrm>
        </p:spPr>
        <p:txBody>
          <a:bodyPr/>
          <a:lstStyle>
            <a:lvl1pPr>
              <a:defRPr sz="1733"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749" y="2340001"/>
            <a:ext cx="6277500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4622"/>
            </a:lvl1pPr>
            <a:lvl2pPr>
              <a:defRPr sz="2889"/>
            </a:lvl2pPr>
            <a:lvl3pPr>
              <a:defRPr sz="2600"/>
            </a:lvl3pPr>
            <a:lvl4pPr>
              <a:defRPr sz="2022"/>
            </a:lvl4pPr>
            <a:lvl5pPr>
              <a:defRPr sz="202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7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weiß, 1-spaltig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46750" y="9360000"/>
            <a:ext cx="5042250" cy="312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3750" y="9360000"/>
            <a:ext cx="202500" cy="312000"/>
          </a:xfrm>
        </p:spPr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749" y="2340001"/>
            <a:ext cx="6277500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83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750" y="780001"/>
            <a:ext cx="2919909" cy="400603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750" y="2340001"/>
            <a:ext cx="2919909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514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750" y="780001"/>
            <a:ext cx="2919909" cy="400603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750" y="2340001"/>
            <a:ext cx="2919909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2002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429001" y="2340000"/>
            <a:ext cx="3152249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9594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6216750" y="9360000"/>
            <a:ext cx="359121" cy="26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5D3AE0-7A05-16D1-01E0-48F4462AA6F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429001" y="2340000"/>
            <a:ext cx="3152249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6535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F28254CF-8605-E1A3-198F-34C0A6A06A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1720" y="7178091"/>
            <a:ext cx="1516261" cy="19351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8417" y="-950133"/>
            <a:ext cx="3080742" cy="791104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25480" y="1809202"/>
            <a:ext cx="2223492" cy="5709708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08868"/>
            <a:ext cx="198322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91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64750" cy="9880000"/>
          </a:xfrm>
          <a:prstGeom prst="rect">
            <a:avLst/>
          </a:prstGeom>
        </p:spPr>
        <p:txBody>
          <a:bodyPr lIns="0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0" y="779994"/>
            <a:ext cx="3335837" cy="8320003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2022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5323238" y="7588946"/>
            <a:ext cx="1217512" cy="1244428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08868"/>
            <a:ext cx="198322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75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64750" cy="9880000"/>
          </a:xfrm>
          <a:prstGeom prst="rect">
            <a:avLst/>
          </a:prstGeom>
        </p:spPr>
        <p:txBody>
          <a:bodyPr lIns="0"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0" y="779994"/>
            <a:ext cx="3335837" cy="8320003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2022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5323238" y="7588946"/>
            <a:ext cx="1217512" cy="1244428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08868"/>
            <a:ext cx="198322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831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304503" y="2382027"/>
            <a:ext cx="6236242" cy="6709836"/>
          </a:xfrm>
          <a:prstGeom prst="rect">
            <a:avLst/>
          </a:prstGeom>
          <a:noFill/>
        </p:spPr>
        <p:txBody>
          <a:bodyPr wrap="square" lIns="0" tIns="260000" rIns="260000" bIns="260000" rtlCol="0">
            <a:noAutofit/>
          </a:bodyPr>
          <a:lstStyle/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bg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49" y="780001"/>
            <a:ext cx="6277500" cy="104343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991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304503" y="2382027"/>
            <a:ext cx="6236242" cy="6709836"/>
          </a:xfrm>
          <a:prstGeom prst="rect">
            <a:avLst/>
          </a:prstGeom>
          <a:noFill/>
        </p:spPr>
        <p:txBody>
          <a:bodyPr wrap="square" lIns="0" tIns="260000" rIns="260000" bIns="260000" rtlCol="0">
            <a:noAutofit/>
          </a:bodyPr>
          <a:lstStyle/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495285" indent="-495285">
              <a:lnSpc>
                <a:spcPct val="200000"/>
              </a:lnSpc>
              <a:buClr>
                <a:schemeClr val="tx2"/>
              </a:buClr>
              <a:buFont typeface="+mj-lt"/>
              <a:buAutoNum type="arabicPeriod"/>
            </a:pP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26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26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26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749" y="780001"/>
            <a:ext cx="6277500" cy="104343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303750" y="2077488"/>
            <a:ext cx="201086" cy="0"/>
          </a:xfrm>
          <a:prstGeom prst="line">
            <a:avLst/>
          </a:prstGeom>
          <a:ln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658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856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bl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210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76700" y="-4217200"/>
            <a:ext cx="5829975" cy="149708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303750" y="5512000"/>
            <a:ext cx="198322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563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894" y="2294"/>
          <a:ext cx="690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894" y="2294"/>
                        <a:ext cx="690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62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3" r:id="rId2"/>
    <p:sldLayoutId id="2147483702" r:id="rId3"/>
    <p:sldLayoutId id="2147483704" r:id="rId4"/>
    <p:sldLayoutId id="2147483705" r:id="rId5"/>
    <p:sldLayoutId id="2147483708" r:id="rId6"/>
    <p:sldLayoutId id="2147483706" r:id="rId7"/>
    <p:sldLayoutId id="2147483709" r:id="rId8"/>
    <p:sldLayoutId id="2147483707" r:id="rId9"/>
    <p:sldLayoutId id="2147483710" r:id="rId10"/>
    <p:sldLayoutId id="2147483698" r:id="rId11"/>
  </p:sldLayoutIdLst>
  <p:hf hdr="0" ftr="0" dt="0"/>
  <p:txStyles>
    <p:titleStyle>
      <a:lvl1pPr algn="l" defTabSz="1320781" rtl="0" eaLnBrk="1" latinLnBrk="0" hangingPunct="1">
        <a:lnSpc>
          <a:spcPct val="90000"/>
        </a:lnSpc>
        <a:spcBef>
          <a:spcPct val="0"/>
        </a:spcBef>
        <a:buNone/>
        <a:defRPr sz="3755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330194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311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99058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022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65097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022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231136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1589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971756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1589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3632146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534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926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315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9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8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7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59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95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4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73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12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894" y="2294"/>
          <a:ext cx="690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94" y="2294"/>
                        <a:ext cx="690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3749" y="2340001"/>
            <a:ext cx="6277500" cy="64202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749" y="780001"/>
            <a:ext cx="6277500" cy="16053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, </a:t>
            </a:r>
            <a:r>
              <a:rPr lang="en-DE" dirty="0"/>
              <a:t>40</a:t>
            </a:r>
            <a:r>
              <a:rPr lang="de-DE" dirty="0" err="1"/>
              <a:t>pt</a:t>
            </a:r>
            <a:r>
              <a:rPr lang="de-DE" dirty="0"/>
              <a:t>, 1- oder 2-zeilig 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5BCB707B-724B-66AA-6842-B7D13356D2A4}"/>
              </a:ext>
            </a:extLst>
          </p:cNvPr>
          <p:cNvSpPr/>
          <p:nvPr userDrawn="1"/>
        </p:nvSpPr>
        <p:spPr>
          <a:xfrm rot="5400000">
            <a:off x="-591779" y="1388208"/>
            <a:ext cx="713345" cy="277793"/>
          </a:xfrm>
          <a:prstGeom prst="roundRect">
            <a:avLst/>
          </a:prstGeom>
          <a:solidFill>
            <a:srgbClr val="282827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4" name="Rechteck: abgerundete Ecken 10">
            <a:extLst>
              <a:ext uri="{FF2B5EF4-FFF2-40B4-BE49-F238E27FC236}">
                <a16:creationId xmlns:a16="http://schemas.microsoft.com/office/drawing/2014/main" id="{725858DF-B561-A996-A8F4-506CA1EDBA44}"/>
              </a:ext>
            </a:extLst>
          </p:cNvPr>
          <p:cNvSpPr/>
          <p:nvPr userDrawn="1"/>
        </p:nvSpPr>
        <p:spPr>
          <a:xfrm rot="5400000">
            <a:off x="-591779" y="2233329"/>
            <a:ext cx="713345" cy="277793"/>
          </a:xfrm>
          <a:prstGeom prst="roundRect">
            <a:avLst/>
          </a:prstGeom>
          <a:solidFill>
            <a:srgbClr val="042C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5" name="Rechteck: abgerundete Ecken 11">
            <a:extLst>
              <a:ext uri="{FF2B5EF4-FFF2-40B4-BE49-F238E27FC236}">
                <a16:creationId xmlns:a16="http://schemas.microsoft.com/office/drawing/2014/main" id="{77FDEC6D-0DCF-954E-318D-5D2933E6994C}"/>
              </a:ext>
            </a:extLst>
          </p:cNvPr>
          <p:cNvSpPr/>
          <p:nvPr userDrawn="1"/>
        </p:nvSpPr>
        <p:spPr>
          <a:xfrm rot="5400000">
            <a:off x="-591779" y="3093587"/>
            <a:ext cx="713345" cy="277793"/>
          </a:xfrm>
          <a:prstGeom prst="roundRect">
            <a:avLst/>
          </a:prstGeom>
          <a:solidFill>
            <a:srgbClr val="6AB1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6" name="Rechteck: abgerundete Ecken 12">
            <a:extLst>
              <a:ext uri="{FF2B5EF4-FFF2-40B4-BE49-F238E27FC236}">
                <a16:creationId xmlns:a16="http://schemas.microsoft.com/office/drawing/2014/main" id="{D1F9F3EB-4EF5-375C-EED9-F3895A174A90}"/>
              </a:ext>
            </a:extLst>
          </p:cNvPr>
          <p:cNvSpPr/>
          <p:nvPr userDrawn="1"/>
        </p:nvSpPr>
        <p:spPr>
          <a:xfrm rot="5400000">
            <a:off x="-591779" y="3953844"/>
            <a:ext cx="713345" cy="277793"/>
          </a:xfrm>
          <a:prstGeom prst="roundRect">
            <a:avLst/>
          </a:prstGeom>
          <a:solidFill>
            <a:srgbClr val="E21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7" name="Rechteck: abgerundete Ecken 13">
            <a:extLst>
              <a:ext uri="{FF2B5EF4-FFF2-40B4-BE49-F238E27FC236}">
                <a16:creationId xmlns:a16="http://schemas.microsoft.com/office/drawing/2014/main" id="{2B32428D-271B-5842-A64A-1B21219103B8}"/>
              </a:ext>
            </a:extLst>
          </p:cNvPr>
          <p:cNvSpPr/>
          <p:nvPr userDrawn="1"/>
        </p:nvSpPr>
        <p:spPr>
          <a:xfrm rot="5400000">
            <a:off x="-591779" y="4814102"/>
            <a:ext cx="713345" cy="277793"/>
          </a:xfrm>
          <a:prstGeom prst="roundRect">
            <a:avLst/>
          </a:prstGeom>
          <a:solidFill>
            <a:srgbClr val="FFA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9" name="Rechteck: abgerundete Ecken 14">
            <a:extLst>
              <a:ext uri="{FF2B5EF4-FFF2-40B4-BE49-F238E27FC236}">
                <a16:creationId xmlns:a16="http://schemas.microsoft.com/office/drawing/2014/main" id="{98275B63-A4E7-DFDF-AB0C-6BEB1BEAE59E}"/>
              </a:ext>
            </a:extLst>
          </p:cNvPr>
          <p:cNvSpPr/>
          <p:nvPr userDrawn="1"/>
        </p:nvSpPr>
        <p:spPr>
          <a:xfrm rot="5400000">
            <a:off x="-591779" y="5674360"/>
            <a:ext cx="713345" cy="277793"/>
          </a:xfrm>
          <a:prstGeom prst="roundRect">
            <a:avLst/>
          </a:prstGeom>
          <a:solidFill>
            <a:srgbClr val="4B3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10" name="Rechteck: abgerundete Ecken 15">
            <a:extLst>
              <a:ext uri="{FF2B5EF4-FFF2-40B4-BE49-F238E27FC236}">
                <a16:creationId xmlns:a16="http://schemas.microsoft.com/office/drawing/2014/main" id="{F634432C-CCD0-4F4C-EA3E-59589E35B992}"/>
              </a:ext>
            </a:extLst>
          </p:cNvPr>
          <p:cNvSpPr/>
          <p:nvPr userDrawn="1"/>
        </p:nvSpPr>
        <p:spPr>
          <a:xfrm rot="5400000">
            <a:off x="-591779" y="6534617"/>
            <a:ext cx="713345" cy="277793"/>
          </a:xfrm>
          <a:prstGeom prst="roundRect">
            <a:avLst/>
          </a:prstGeom>
          <a:solidFill>
            <a:srgbClr val="D13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11" name="Rechteck: abgerundete Ecken 16">
            <a:extLst>
              <a:ext uri="{FF2B5EF4-FFF2-40B4-BE49-F238E27FC236}">
                <a16:creationId xmlns:a16="http://schemas.microsoft.com/office/drawing/2014/main" id="{8EA78016-B8C0-8EEB-9E36-E5AFC72B7093}"/>
              </a:ext>
            </a:extLst>
          </p:cNvPr>
          <p:cNvSpPr/>
          <p:nvPr userDrawn="1"/>
        </p:nvSpPr>
        <p:spPr>
          <a:xfrm rot="5400000">
            <a:off x="-591779" y="7394875"/>
            <a:ext cx="713345" cy="277793"/>
          </a:xfrm>
          <a:prstGeom prst="roundRect">
            <a:avLst/>
          </a:prstGeom>
          <a:solidFill>
            <a:srgbClr val="00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13" name="Rechteck: abgerundete Ecken 17">
            <a:extLst>
              <a:ext uri="{FF2B5EF4-FFF2-40B4-BE49-F238E27FC236}">
                <a16:creationId xmlns:a16="http://schemas.microsoft.com/office/drawing/2014/main" id="{89C4DD8C-AA98-B767-376A-19F65C24F7BC}"/>
              </a:ext>
            </a:extLst>
          </p:cNvPr>
          <p:cNvSpPr/>
          <p:nvPr userDrawn="1"/>
        </p:nvSpPr>
        <p:spPr>
          <a:xfrm rot="5400000">
            <a:off x="-591779" y="8255136"/>
            <a:ext cx="713345" cy="277793"/>
          </a:xfrm>
          <a:prstGeom prst="roundRect">
            <a:avLst/>
          </a:prstGeom>
          <a:solidFill>
            <a:srgbClr val="25D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15" name="Rechteck: abgerundete Ecken 8">
            <a:extLst>
              <a:ext uri="{FF2B5EF4-FFF2-40B4-BE49-F238E27FC236}">
                <a16:creationId xmlns:a16="http://schemas.microsoft.com/office/drawing/2014/main" id="{4C8FCB76-18CF-2BDF-8DE3-E4AEF12F6FB0}"/>
              </a:ext>
            </a:extLst>
          </p:cNvPr>
          <p:cNvSpPr/>
          <p:nvPr userDrawn="1"/>
        </p:nvSpPr>
        <p:spPr>
          <a:xfrm rot="5400000">
            <a:off x="-587653" y="484485"/>
            <a:ext cx="713345" cy="277793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67" dirty="0" err="1">
              <a:solidFill>
                <a:schemeClr val="tx1"/>
              </a:solidFill>
            </a:endParaRP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750" y="9360000"/>
            <a:ext cx="5042250" cy="31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56" b="0" i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3750" y="9360000"/>
            <a:ext cx="202500" cy="31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733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7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2" r:id="rId3"/>
    <p:sldLayoutId id="2147483653" r:id="rId4"/>
    <p:sldLayoutId id="2147483654" r:id="rId5"/>
    <p:sldLayoutId id="2147483656" r:id="rId6"/>
  </p:sldLayoutIdLst>
  <p:hf hdr="0" ftr="0" dt="0"/>
  <p:txStyles>
    <p:titleStyle>
      <a:lvl1pPr algn="l" defTabSz="1320781" rtl="0" eaLnBrk="1" latinLnBrk="0" hangingPunct="1">
        <a:lnSpc>
          <a:spcPct val="90000"/>
        </a:lnSpc>
        <a:spcBef>
          <a:spcPct val="0"/>
        </a:spcBef>
        <a:buNone/>
        <a:defRPr sz="5778" b="1" i="0" kern="1200">
          <a:solidFill>
            <a:schemeClr val="tx2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330194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311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99058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022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65097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2022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2311365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1589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971756" indent="-330194" algn="l" defTabSz="1320781" rtl="0" eaLnBrk="1" latinLnBrk="0" hangingPunct="1">
        <a:lnSpc>
          <a:spcPct val="110000"/>
        </a:lnSpc>
        <a:spcBef>
          <a:spcPts val="1444"/>
        </a:spcBef>
        <a:buFont typeface="Systemschrift Normal"/>
        <a:buChar char="&gt;"/>
        <a:defRPr sz="1589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3632146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534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926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315" indent="-330194" algn="l" defTabSz="1320781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9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8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7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59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95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4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730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121" algn="l" defTabSz="132078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635E9A61-C3C7-5FE6-9175-27CE17269DBD}"/>
              </a:ext>
            </a:extLst>
          </p:cNvPr>
          <p:cNvSpPr/>
          <p:nvPr/>
        </p:nvSpPr>
        <p:spPr>
          <a:xfrm>
            <a:off x="5049927" y="207701"/>
            <a:ext cx="1843780" cy="477975"/>
          </a:xfrm>
          <a:prstGeom prst="roundRect">
            <a:avLst>
              <a:gd name="adj" fmla="val 6703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Red Hat Text" panose="020B0604020202020204" charset="0"/>
                <a:ea typeface="Red Hat Text" panose="020B0604020202020204" charset="0"/>
                <a:cs typeface="Red Hat Text" panose="020B0604020202020204" charset="0"/>
              </a:rPr>
              <a:t>Electrical and Computer Engineeri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D5D0ACF-E35E-9594-A27E-6157A30D578B}"/>
              </a:ext>
            </a:extLst>
          </p:cNvPr>
          <p:cNvSpPr txBox="1"/>
          <p:nvPr/>
        </p:nvSpPr>
        <p:spPr>
          <a:xfrm>
            <a:off x="5211233" y="345017"/>
            <a:ext cx="313267" cy="1248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en-US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41ED83D-A78F-CF16-993B-214BA7B70D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2" b="20687"/>
          <a:stretch/>
        </p:blipFill>
        <p:spPr>
          <a:xfrm>
            <a:off x="54197" y="230317"/>
            <a:ext cx="1850746" cy="432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10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7AB3454-8D4A-4F31-9FE5-A1062C8E9C47}" vid="{A545D24D-5D01-44BD-85F7-824FC929540F}"/>
    </a:ext>
  </a:extLst>
</a:theme>
</file>

<file path=ppt/theme/theme2.xml><?xml version="1.0" encoding="utf-8"?>
<a:theme xmlns:a="http://schemas.openxmlformats.org/drawingml/2006/main" name="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7AB3454-8D4A-4F31-9FE5-A1062C8E9C47}" vid="{39C49219-D828-4DA9-9737-063858253CD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</Words>
  <Application>Microsoft Office PowerPoint</Application>
  <PresentationFormat>A4-Papier (210 x 297 mm)</PresentationFormat>
  <Paragraphs>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Systemschrift Normal</vt:lpstr>
      <vt:lpstr>Red Hat Text</vt:lpstr>
      <vt:lpstr>Avenir Next LT Pro</vt:lpstr>
      <vt:lpstr>Arial</vt:lpstr>
      <vt:lpstr>Red Hat Text SemiBold</vt:lpstr>
      <vt:lpstr>Montserrat</vt:lpstr>
      <vt:lpstr>RPTU-Master Sonderfolien</vt:lpstr>
      <vt:lpstr>RPTUMaster - Inhaltsfolien</vt:lpstr>
      <vt:lpstr>think-cell Folie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S II Exercise</dc:title>
  <dc:subject/>
  <dc:creator>Tobias Jauch</dc:creator>
  <cp:keywords/>
  <dc:description/>
  <cp:lastModifiedBy>Tobias Jauch</cp:lastModifiedBy>
  <cp:revision>55</cp:revision>
  <dcterms:created xsi:type="dcterms:W3CDTF">2023-01-12T09:28:11Z</dcterms:created>
  <dcterms:modified xsi:type="dcterms:W3CDTF">2023-10-10T14:31:43Z</dcterms:modified>
  <cp:category/>
</cp:coreProperties>
</file>